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1"/>
  </p:sldMasterIdLst>
  <p:notesMasterIdLst>
    <p:notesMasterId r:id="rId3"/>
  </p:notesMasterIdLst>
  <p:handoutMasterIdLst>
    <p:handoutMasterId r:id="rId4"/>
  </p:handoutMasterIdLst>
  <p:sldIdLst>
    <p:sldId id="657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43684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70152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210538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30270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2706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72635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97777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383502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1450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38601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908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9475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34126113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9701157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C222F45B-17E0-405A-9681-735FBCC07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C222F45B-17E0-405A-9681-735FBCC07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F83A37-7952-44F1-A63E-478487CFADBB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3149901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 : Amélioration de ligne, </a:t>
            </a:r>
            <a:fld id="{0ADEEFC1-8D9C-44CE-8B56-ECADF94EB012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26. Juni 2020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B88F71-47A5-4AEE-9E25-AC8F58525FD2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age </a:t>
            </a:r>
            <a:fld id="{C448AF2A-59E1-408B-AAD4-A6BA9EB5A6B5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94641FB4-35F5-4ED2-881F-1F72ADE5AD43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D19CA88A-5538-4FEF-91C0-B295AC7C1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E63B686B-1F14-481B-9072-95BB06DBF5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D88810E1-AA50-43FD-A532-57DDF202B7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13E8AE9E-277B-4A42-AD23-DC2128984158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17CE45E9-D66F-4E71-98EA-F6292361F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17CE45E9-D66F-4E71-98EA-F6292361F6B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3026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63066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138537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50281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803224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7085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13805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41048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0654E28-8321-44A6-8E1A-CFDC2C1C9C0A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5301606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529" y="384688"/>
            <a:ext cx="8037489" cy="1018014"/>
          </a:xfrm>
        </p:spPr>
        <p:txBody>
          <a:bodyPr/>
          <a:lstStyle/>
          <a:p>
            <a:r>
              <a:rPr lang="fr-FR" altLang="fr-FR" dirty="0"/>
              <a:t>Réduisez</a:t>
            </a:r>
            <a:r>
              <a:rPr dirty="0"/>
              <a:t> </a:t>
            </a:r>
            <a:r>
              <a:rPr lang="fr-FR" altLang="fr-FR" dirty="0"/>
              <a:t>les temps d'arrêt et gagnez en </a:t>
            </a:r>
            <a:r>
              <a:rPr dirty="0"/>
              <a:t> </a:t>
            </a:r>
            <a:r>
              <a:rPr lang="fr-FR" altLang="fr-FR" dirty="0"/>
              <a:t>productivité</a:t>
            </a:r>
            <a:endParaRPr lang="fr-FR" altLang="fr-FR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4528" y="1696303"/>
            <a:ext cx="8438087" cy="308492"/>
          </a:xfrm>
        </p:spPr>
        <p:txBody>
          <a:bodyPr/>
          <a:lstStyle/>
          <a:p>
            <a:r>
              <a:rPr lang="fr-FR" altLang="fr-FR" dirty="0">
                <a:solidFill>
                  <a:srgbClr val="000000"/>
                </a:solidFill>
              </a:rPr>
              <a:t>Levier d'ouverture / fermeture moule avec</a:t>
            </a:r>
            <a:r>
              <a:rPr dirty="0"/>
              <a:t> </a:t>
            </a:r>
            <a:r>
              <a:rPr lang="fr-FR" altLang="fr-FR" dirty="0">
                <a:solidFill>
                  <a:srgbClr val="000000"/>
                </a:solidFill>
              </a:rPr>
              <a:t>élément de serrage</a:t>
            </a:r>
            <a:r>
              <a:rPr dirty="0"/>
              <a:t> </a:t>
            </a:r>
            <a:r>
              <a:rPr lang="fr-FR" altLang="fr-FR" dirty="0"/>
              <a:t>hydraulique</a:t>
            </a:r>
            <a:endParaRPr lang="fr-FR" altLang="fr-FR" dirty="0">
              <a:solidFill>
                <a:srgbClr val="000000"/>
              </a:solidFill>
            </a:endParaRP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7" y="2471501"/>
            <a:ext cx="4084115" cy="3812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Installation rapide et facile</a:t>
            </a:r>
            <a:endParaRPr lang="fr-FR" altLang="fr-FR" sz="1323" b="0" kern="0" dirty="0">
              <a:solidFill>
                <a:srgbClr val="000000"/>
              </a:solidFill>
              <a:latin typeface="Arial"/>
            </a:endParaRP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Réglage avec une seul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vis, ce qui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réduit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es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temps d'arrêt d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a machin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Allong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a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urée de vi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a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came d'ouverture/fermeture du moule.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Plus de 1 000 </a:t>
            </a:r>
            <a:r>
              <a:rPr lang="de-CH" altLang="fr-FR" sz="1323" b="0" kern="0" dirty="0" err="1">
                <a:solidFill>
                  <a:srgbClr val="000000"/>
                </a:solidFill>
                <a:latin typeface="Arial"/>
              </a:rPr>
              <a:t>réajustements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>
                <a:solidFill>
                  <a:srgbClr val="000000"/>
                </a:solidFill>
                <a:latin typeface="Arial"/>
              </a:rPr>
              <a:t>possibles</a:t>
            </a:r>
            <a:endParaRPr lang="fr-FR" altLang="fr-FR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3" y="2471503"/>
            <a:ext cx="4029829" cy="38129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Un élément de serrag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hydrauliqu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ETP-EXPRESS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à vis uniqu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est 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intégré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ans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evier d'ouverture/de fermeture du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moule.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Il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vient remplacer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le système de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serrage conique RLK</a:t>
            </a:r>
            <a:r>
              <a:rPr sz="1323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</a:rPr>
              <a:t>d'origine</a:t>
            </a:r>
            <a:endParaRPr lang="fr-FR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fr-F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4526" y="6390550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eur : Efficacité, Maintenance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Équipements : souffleuses Matrix 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ode catalogue : 2023</a:t>
            </a:r>
          </a:p>
        </p:txBody>
      </p:sp>
      <p:pic>
        <p:nvPicPr>
          <p:cNvPr id="10" name="Image 1">
            <a:extLst>
              <a:ext uri="{FF2B5EF4-FFF2-40B4-BE49-F238E27FC236}">
                <a16:creationId xmlns:a16="http://schemas.microsoft.com/office/drawing/2014/main" id="{4FB22AC5-9197-4FBC-8762-AA1CDDB09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4341" y="3841651"/>
            <a:ext cx="1026672" cy="801683"/>
          </a:xfrm>
          <a:prstGeom prst="rect">
            <a:avLst/>
          </a:prstGeom>
        </p:spPr>
      </p:pic>
      <p:pic>
        <p:nvPicPr>
          <p:cNvPr id="11" name="Picture 25">
            <a:extLst>
              <a:ext uri="{FF2B5EF4-FFF2-40B4-BE49-F238E27FC236}">
                <a16:creationId xmlns:a16="http://schemas.microsoft.com/office/drawing/2014/main" id="{65A402BA-A958-41D0-B24A-8CAA77298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88" t="3653" b="5936"/>
          <a:stretch>
            <a:fillRect/>
          </a:stretch>
        </p:blipFill>
        <p:spPr bwMode="auto">
          <a:xfrm>
            <a:off x="6404032" y="4737228"/>
            <a:ext cx="1573987" cy="1253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 Box 28">
            <a:extLst>
              <a:ext uri="{FF2B5EF4-FFF2-40B4-BE49-F238E27FC236}">
                <a16:creationId xmlns:a16="http://schemas.microsoft.com/office/drawing/2014/main" id="{308467ED-6672-4A0D-B093-5E5E39BAA4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78018" y="4408847"/>
            <a:ext cx="1353005" cy="348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fontAlgn="auto" hangingPunct="1">
              <a:spcBef>
                <a:spcPct val="50000"/>
              </a:spcBef>
              <a:spcAft>
                <a:spcPts val="0"/>
              </a:spcAft>
            </a:pPr>
            <a:r>
              <a:rPr lang="fr-FR" altLang="fr-FR" sz="754" b="0" dirty="0">
                <a:solidFill>
                  <a:srgbClr val="FF6600"/>
                </a:solidFill>
                <a:latin typeface="Arial" panose="020B0604020202020204" pitchFamily="34" charset="0"/>
              </a:rPr>
              <a:t>SYSTÈME DE RÉGLAGE RAPIDE, AVEC UNE SEULE VIS</a:t>
            </a:r>
          </a:p>
        </p:txBody>
      </p:sp>
      <p:sp>
        <p:nvSpPr>
          <p:cNvPr id="13" name="Line 30">
            <a:extLst>
              <a:ext uri="{FF2B5EF4-FFF2-40B4-BE49-F238E27FC236}">
                <a16:creationId xmlns:a16="http://schemas.microsoft.com/office/drawing/2014/main" id="{E86A07B2-57E2-4EC7-A68A-95F3CBB6197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78298" y="4080470"/>
            <a:ext cx="44900" cy="656757"/>
          </a:xfrm>
          <a:prstGeom prst="line">
            <a:avLst/>
          </a:prstGeom>
          <a:noFill/>
          <a:ln w="12700">
            <a:solidFill>
              <a:srgbClr val="FF66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037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hteck 3">
            <a:extLst>
              <a:ext uri="{FF2B5EF4-FFF2-40B4-BE49-F238E27FC236}">
                <a16:creationId xmlns:a16="http://schemas.microsoft.com/office/drawing/2014/main" id="{39FDF975-5519-4614-880A-06CD20D9DB6A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 charset="0"/>
              </a:rPr>
              <a:t>VALEUR ET AVANTAGES</a:t>
            </a:r>
            <a:endParaRPr lang="fr-FR" sz="1544" dirty="0">
              <a:solidFill>
                <a:srgbClr val="FFFFF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5" name="Rechteck 11">
            <a:extLst>
              <a:ext uri="{FF2B5EF4-FFF2-40B4-BE49-F238E27FC236}">
                <a16:creationId xmlns:a16="http://schemas.microsoft.com/office/drawing/2014/main" id="{4F2A98AA-A25C-4ED1-8A14-14296C96F15E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210026" indent="-210026"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  <a:defRPr/>
            </a:pPr>
            <a:r>
              <a:rPr lang="de-CH" altLang="fr-FR" sz="1544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4101268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Pages>1</Pages>
  <Words>91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Réduisez les temps d'arrêt et gagnez en  productivité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7</cp:revision>
  <cp:lastPrinted>2016-08-02T08:13:06Z</cp:lastPrinted>
  <dcterms:created xsi:type="dcterms:W3CDTF">2009-07-10T13:59:45Z</dcterms:created>
  <dcterms:modified xsi:type="dcterms:W3CDTF">2020-06-26T12:4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6-26T12:40:18.4696480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4-03T16:07:44.0688407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4-03T16:07:44.0688407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